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trictFirstAndLastChars="0" saveSubsetFonts="1">
  <p:sldMasterIdLst>
    <p:sldMasterId id="2147483691" r:id="rId1"/>
  </p:sldMasterIdLst>
  <p:notesMasterIdLst>
    <p:notesMasterId r:id="rId4"/>
  </p:notesMasterIdLst>
  <p:handoutMasterIdLst>
    <p:handoutMasterId r:id="rId5"/>
  </p:handoutMasterIdLst>
  <p:sldIdLst>
    <p:sldId id="1576" r:id="rId2"/>
    <p:sldId id="1577" r:id="rId3"/>
  </p:sldIdLst>
  <p:sldSz cx="17068800" cy="9601200"/>
  <p:notesSz cx="6865938" cy="9998075"/>
  <p:custDataLst>
    <p:tags r:id="rId6"/>
  </p:custDataLst>
  <p:defaultTextStyle>
    <a:defPPr>
      <a:defRPr lang="de-DE"/>
    </a:defPPr>
    <a:lvl1pPr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1pPr>
    <a:lvl2pPr marL="337197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2pPr>
    <a:lvl3pPr marL="674392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3pPr>
    <a:lvl4pPr marL="1011590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4pPr>
    <a:lvl5pPr marL="1348786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5pPr>
    <a:lvl6pPr marL="2247976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6pPr>
    <a:lvl7pPr marL="2697571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7pPr>
    <a:lvl8pPr marL="3147167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8pPr>
    <a:lvl9pPr marL="3596764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24" userDrawn="1">
          <p15:clr>
            <a:srgbClr val="A4A3A4"/>
          </p15:clr>
        </p15:guide>
        <p15:guide id="2" pos="53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81BD"/>
    <a:srgbClr val="F7941E"/>
    <a:srgbClr val="558ED5"/>
    <a:srgbClr val="458CCB"/>
    <a:srgbClr val="F6C834"/>
    <a:srgbClr val="99FF99"/>
    <a:srgbClr val="AFCC45"/>
    <a:srgbClr val="ED8036"/>
    <a:srgbClr val="B9CD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03" autoAdjust="0"/>
    <p:restoredTop sz="93004" autoAdjust="0"/>
  </p:normalViewPr>
  <p:slideViewPr>
    <p:cSldViewPr>
      <p:cViewPr varScale="1">
        <p:scale>
          <a:sx n="45" d="100"/>
          <a:sy n="45" d="100"/>
        </p:scale>
        <p:origin x="66" y="972"/>
      </p:cViewPr>
      <p:guideLst>
        <p:guide orient="horz" pos="3024"/>
        <p:guide pos="537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Koytek" userId="1122f4c81c71b2f9" providerId="LiveId" clId="{9889E5B8-07DC-4874-8681-8E9959C27F5E}"/>
    <pc:docChg chg="custSel delSld modSld">
      <pc:chgData name="Thomas Koytek" userId="1122f4c81c71b2f9" providerId="LiveId" clId="{9889E5B8-07DC-4874-8681-8E9959C27F5E}" dt="2022-11-25T14:09:41.999" v="28" actId="47"/>
      <pc:docMkLst>
        <pc:docMk/>
      </pc:docMkLst>
      <pc:sldChg chg="modSp mod">
        <pc:chgData name="Thomas Koytek" userId="1122f4c81c71b2f9" providerId="LiveId" clId="{9889E5B8-07DC-4874-8681-8E9959C27F5E}" dt="2022-11-25T13:45:52.809" v="27" actId="20577"/>
        <pc:sldMkLst>
          <pc:docMk/>
          <pc:sldMk cId="1374429260" sldId="1576"/>
        </pc:sldMkLst>
        <pc:spChg chg="mod">
          <ac:chgData name="Thomas Koytek" userId="1122f4c81c71b2f9" providerId="LiveId" clId="{9889E5B8-07DC-4874-8681-8E9959C27F5E}" dt="2022-11-25T13:45:52.809" v="27" actId="20577"/>
          <ac:spMkLst>
            <pc:docMk/>
            <pc:sldMk cId="1374429260" sldId="1576"/>
            <ac:spMk id="18" creationId="{E18E9F98-A808-4B1F-9D04-1F2DD7E8105E}"/>
          </ac:spMkLst>
        </pc:spChg>
        <pc:spChg chg="mod">
          <ac:chgData name="Thomas Koytek" userId="1122f4c81c71b2f9" providerId="LiveId" clId="{9889E5B8-07DC-4874-8681-8E9959C27F5E}" dt="2022-11-25T13:13:22.969" v="0" actId="962"/>
          <ac:spMkLst>
            <pc:docMk/>
            <pc:sldMk cId="1374429260" sldId="1576"/>
            <ac:spMk id="19" creationId="{F1373137-3156-4C91-96BF-EC377215DFA5}"/>
          </ac:spMkLst>
        </pc:spChg>
        <pc:spChg chg="mod">
          <ac:chgData name="Thomas Koytek" userId="1122f4c81c71b2f9" providerId="LiveId" clId="{9889E5B8-07DC-4874-8681-8E9959C27F5E}" dt="2022-11-25T13:40:08.742" v="9" actId="962"/>
          <ac:spMkLst>
            <pc:docMk/>
            <pc:sldMk cId="1374429260" sldId="1576"/>
            <ac:spMk id="21" creationId="{56F1C62A-14EE-479C-9CA5-50949334305A}"/>
          </ac:spMkLst>
        </pc:spChg>
      </pc:sldChg>
      <pc:sldChg chg="delSp modSp mod">
        <pc:chgData name="Thomas Koytek" userId="1122f4c81c71b2f9" providerId="LiveId" clId="{9889E5B8-07DC-4874-8681-8E9959C27F5E}" dt="2022-11-25T13:40:44.777" v="12" actId="962"/>
        <pc:sldMkLst>
          <pc:docMk/>
          <pc:sldMk cId="2941206633" sldId="1577"/>
        </pc:sldMkLst>
        <pc:spChg chg="mod">
          <ac:chgData name="Thomas Koytek" userId="1122f4c81c71b2f9" providerId="LiveId" clId="{9889E5B8-07DC-4874-8681-8E9959C27F5E}" dt="2022-11-25T13:14:17.227" v="6" actId="962"/>
          <ac:spMkLst>
            <pc:docMk/>
            <pc:sldMk cId="2941206633" sldId="1577"/>
            <ac:spMk id="2" creationId="{D4127068-1661-CEAA-E904-4E350C091E52}"/>
          </ac:spMkLst>
        </pc:spChg>
        <pc:spChg chg="del mod">
          <ac:chgData name="Thomas Koytek" userId="1122f4c81c71b2f9" providerId="LiveId" clId="{9889E5B8-07DC-4874-8681-8E9959C27F5E}" dt="2022-11-25T13:40:36.232" v="11" actId="478"/>
          <ac:spMkLst>
            <pc:docMk/>
            <pc:sldMk cId="2941206633" sldId="1577"/>
            <ac:spMk id="3" creationId="{6D30E9B5-F041-7673-349E-296760E36854}"/>
          </ac:spMkLst>
        </pc:spChg>
        <pc:spChg chg="del mod">
          <ac:chgData name="Thomas Koytek" userId="1122f4c81c71b2f9" providerId="LiveId" clId="{9889E5B8-07DC-4874-8681-8E9959C27F5E}" dt="2022-11-25T13:13:59.160" v="2" actId="478"/>
          <ac:spMkLst>
            <pc:docMk/>
            <pc:sldMk cId="2941206633" sldId="1577"/>
            <ac:spMk id="14" creationId="{17E6A582-B5E4-401D-BAF8-355E782E6C79}"/>
          </ac:spMkLst>
        </pc:spChg>
        <pc:spChg chg="del">
          <ac:chgData name="Thomas Koytek" userId="1122f4c81c71b2f9" providerId="LiveId" clId="{9889E5B8-07DC-4874-8681-8E9959C27F5E}" dt="2022-11-25T13:13:59.160" v="2" actId="478"/>
          <ac:spMkLst>
            <pc:docMk/>
            <pc:sldMk cId="2941206633" sldId="1577"/>
            <ac:spMk id="15" creationId="{54A79403-A556-46CD-8980-4DCFF6AFD01F}"/>
          </ac:spMkLst>
        </pc:spChg>
        <pc:spChg chg="mod">
          <ac:chgData name="Thomas Koytek" userId="1122f4c81c71b2f9" providerId="LiveId" clId="{9889E5B8-07DC-4874-8681-8E9959C27F5E}" dt="2022-11-25T13:40:44.777" v="12" actId="962"/>
          <ac:spMkLst>
            <pc:docMk/>
            <pc:sldMk cId="2941206633" sldId="1577"/>
            <ac:spMk id="18" creationId="{A7C51D25-1B36-40F3-90C7-AE363CA7D84D}"/>
          </ac:spMkLst>
        </pc:spChg>
      </pc:sldChg>
      <pc:sldChg chg="delSp modSp del mod">
        <pc:chgData name="Thomas Koytek" userId="1122f4c81c71b2f9" providerId="LiveId" clId="{9889E5B8-07DC-4874-8681-8E9959C27F5E}" dt="2022-11-25T14:09:41.999" v="28" actId="47"/>
        <pc:sldMkLst>
          <pc:docMk/>
          <pc:sldMk cId="4177421585" sldId="1578"/>
        </pc:sldMkLst>
        <pc:spChg chg="mod">
          <ac:chgData name="Thomas Koytek" userId="1122f4c81c71b2f9" providerId="LiveId" clId="{9889E5B8-07DC-4874-8681-8E9959C27F5E}" dt="2022-11-25T13:40:56.832" v="13" actId="962"/>
          <ac:spMkLst>
            <pc:docMk/>
            <pc:sldMk cId="4177421585" sldId="1578"/>
            <ac:spMk id="2" creationId="{834B8E72-41EE-919E-54F1-0F2D9E5C0D94}"/>
          </ac:spMkLst>
        </pc:spChg>
        <pc:spChg chg="del">
          <ac:chgData name="Thomas Koytek" userId="1122f4c81c71b2f9" providerId="LiveId" clId="{9889E5B8-07DC-4874-8681-8E9959C27F5E}" dt="2022-11-25T13:14:36.647" v="8" actId="478"/>
          <ac:spMkLst>
            <pc:docMk/>
            <pc:sldMk cId="4177421585" sldId="1578"/>
            <ac:spMk id="3" creationId="{859E8925-07D4-C886-1975-6A53170486AC}"/>
          </ac:spMkLst>
        </pc:spChg>
        <pc:spChg chg="del">
          <ac:chgData name="Thomas Koytek" userId="1122f4c81c71b2f9" providerId="LiveId" clId="{9889E5B8-07DC-4874-8681-8E9959C27F5E}" dt="2022-11-25T13:14:36.647" v="8" actId="478"/>
          <ac:spMkLst>
            <pc:docMk/>
            <pc:sldMk cId="4177421585" sldId="1578"/>
            <ac:spMk id="14" creationId="{17E6A582-B5E4-401D-BAF8-355E782E6C79}"/>
          </ac:spMkLst>
        </pc:spChg>
        <pc:spChg chg="del">
          <ac:chgData name="Thomas Koytek" userId="1122f4c81c71b2f9" providerId="LiveId" clId="{9889E5B8-07DC-4874-8681-8E9959C27F5E}" dt="2022-11-25T13:14:36.647" v="8" actId="478"/>
          <ac:spMkLst>
            <pc:docMk/>
            <pc:sldMk cId="4177421585" sldId="1578"/>
            <ac:spMk id="15" creationId="{54A79403-A556-46CD-8980-4DCFF6AFD01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9110" y="0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/>
          <a:lstStyle>
            <a:lvl1pPr algn="r">
              <a:defRPr sz="1300"/>
            </a:lvl1pPr>
          </a:lstStyle>
          <a:p>
            <a:fld id="{19374F5E-DF45-4BEC-9D66-DFC57119FD26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6437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9110" y="9496437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 anchor="b"/>
          <a:lstStyle>
            <a:lvl1pPr algn="r">
              <a:defRPr sz="1300"/>
            </a:lvl1pPr>
          </a:lstStyle>
          <a:p>
            <a:fld id="{CC694DF6-5A87-403A-9349-A7F7045054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4696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100013" y="749300"/>
            <a:ext cx="6665912" cy="375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4" name="Rectangle 2"/>
          <p:cNvSpPr>
            <a:spLocks noGrp="1"/>
          </p:cNvSpPr>
          <p:nvPr>
            <p:ph type="body" sz="quarter" idx="3"/>
          </p:nvPr>
        </p:nvSpPr>
        <p:spPr bwMode="auto">
          <a:xfrm>
            <a:off x="915459" y="4749086"/>
            <a:ext cx="5035022" cy="4499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6332" tIns="48167" rIns="96332" bIns="481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>
                <a:sym typeface="Noteworthy Bold" charset="0"/>
              </a:rPr>
              <a:t>Click to edit Master text styles</a:t>
            </a:r>
          </a:p>
          <a:p>
            <a:pPr lvl="1"/>
            <a:r>
              <a:rPr lang="de-DE">
                <a:sym typeface="Noteworthy Bold" charset="0"/>
              </a:rPr>
              <a:t>Second level</a:t>
            </a:r>
          </a:p>
          <a:p>
            <a:pPr lvl="2"/>
            <a:r>
              <a:rPr lang="de-DE">
                <a:sym typeface="Noteworthy Bold" charset="0"/>
              </a:rPr>
              <a:t>Third level</a:t>
            </a:r>
          </a:p>
          <a:p>
            <a:pPr lvl="3"/>
            <a:r>
              <a:rPr lang="de-DE">
                <a:sym typeface="Noteworthy Bold" charset="0"/>
              </a:rPr>
              <a:t>Fourth level</a:t>
            </a:r>
          </a:p>
          <a:p>
            <a:pPr lvl="4"/>
            <a:r>
              <a:rPr lang="de-DE">
                <a:sym typeface="Noteworthy Bold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41673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1pPr>
    <a:lvl2pPr marL="337197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2pPr>
    <a:lvl3pPr marL="674392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3pPr>
    <a:lvl4pPr marL="1011590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4pPr>
    <a:lvl5pPr marL="1348786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5pPr>
    <a:lvl6pPr marL="2247976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697571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147167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596764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80160" y="2982605"/>
            <a:ext cx="14508480" cy="205803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60320" y="5440681"/>
            <a:ext cx="1194816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10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1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1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2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2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3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3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283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532541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843" indent="-457843">
              <a:buClr>
                <a:srgbClr val="0070C0"/>
              </a:buClr>
              <a:buSzPct val="66000"/>
              <a:buFont typeface="Wingdings" panose="05000000000000000000" pitchFamily="2" charset="2"/>
              <a:buChar char=""/>
              <a:defRPr lang="de-DE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accent6"/>
              </a:buClr>
              <a:defRPr sz="2000"/>
            </a:lvl2pPr>
            <a:lvl3pPr marL="1556810" indent="-358448">
              <a:defRPr sz="1600"/>
            </a:lvl3pPr>
            <a:lvl4pPr marL="1913135" indent="-231189">
              <a:defRPr sz="1600"/>
            </a:lvl4pPr>
            <a:lvl5pPr marL="2441837" indent="0">
              <a:buNone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623987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48320" y="6169670"/>
            <a:ext cx="14508480" cy="190690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348320" y="4069400"/>
            <a:ext cx="14508480" cy="2100262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10459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2091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3137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4183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5229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6275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7321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8367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33782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3440" y="384493"/>
            <a:ext cx="1536192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3443" y="2149162"/>
            <a:ext cx="7541684" cy="895667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10459" indent="0">
              <a:buNone/>
              <a:defRPr sz="2700" b="1"/>
            </a:lvl2pPr>
            <a:lvl3pPr marL="1220919" indent="0">
              <a:buNone/>
              <a:defRPr sz="2400" b="1"/>
            </a:lvl3pPr>
            <a:lvl4pPr marL="1831378" indent="0">
              <a:buNone/>
              <a:defRPr sz="2100" b="1"/>
            </a:lvl4pPr>
            <a:lvl5pPr marL="2441837" indent="0">
              <a:buNone/>
              <a:defRPr sz="2100" b="1"/>
            </a:lvl5pPr>
            <a:lvl6pPr marL="3052295" indent="0">
              <a:buNone/>
              <a:defRPr sz="2100" b="1"/>
            </a:lvl6pPr>
            <a:lvl7pPr marL="3662756" indent="0">
              <a:buNone/>
              <a:defRPr sz="2100" b="1"/>
            </a:lvl7pPr>
            <a:lvl8pPr marL="4273215" indent="0">
              <a:buNone/>
              <a:defRPr sz="2100" b="1"/>
            </a:lvl8pPr>
            <a:lvl9pPr marL="4883674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53443" y="3044826"/>
            <a:ext cx="7541684" cy="553180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2100"/>
            </a:lvl3pPr>
            <a:lvl4pPr>
              <a:defRPr sz="16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8670716" y="2149162"/>
            <a:ext cx="7544648" cy="895667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10459" indent="0">
              <a:buNone/>
              <a:defRPr sz="2700" b="1"/>
            </a:lvl2pPr>
            <a:lvl3pPr marL="1220919" indent="0">
              <a:buNone/>
              <a:defRPr sz="2400" b="1"/>
            </a:lvl3pPr>
            <a:lvl4pPr marL="1831378" indent="0">
              <a:buNone/>
              <a:defRPr sz="2100" b="1"/>
            </a:lvl4pPr>
            <a:lvl5pPr marL="2441837" indent="0">
              <a:buNone/>
              <a:defRPr sz="2100" b="1"/>
            </a:lvl5pPr>
            <a:lvl6pPr marL="3052295" indent="0">
              <a:buNone/>
              <a:defRPr sz="2100" b="1"/>
            </a:lvl6pPr>
            <a:lvl7pPr marL="3662756" indent="0">
              <a:buNone/>
              <a:defRPr sz="2100" b="1"/>
            </a:lvl7pPr>
            <a:lvl8pPr marL="4273215" indent="0">
              <a:buNone/>
              <a:defRPr sz="2100" b="1"/>
            </a:lvl8pPr>
            <a:lvl9pPr marL="4883674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8670716" y="3044826"/>
            <a:ext cx="7544648" cy="553180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2100"/>
            </a:lvl3pPr>
            <a:lvl4pPr>
              <a:defRPr sz="16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006090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968741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76C5D-FED1-41A1-8E06-910D3F4D4E5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2270724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3443" y="382270"/>
            <a:ext cx="5615519" cy="162687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673431" y="382279"/>
            <a:ext cx="9541933" cy="819435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 marL="1556810" indent="-358448">
              <a:defRPr sz="2100"/>
            </a:lvl3pPr>
            <a:lvl4pPr>
              <a:defRPr sz="16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53443" y="2009146"/>
            <a:ext cx="5615519" cy="6567488"/>
          </a:xfrm>
        </p:spPr>
        <p:txBody>
          <a:bodyPr/>
          <a:lstStyle>
            <a:lvl1pPr marL="0" indent="0">
              <a:buNone/>
              <a:defRPr sz="1900"/>
            </a:lvl1pPr>
            <a:lvl2pPr marL="610459" indent="0">
              <a:buNone/>
              <a:defRPr sz="1600"/>
            </a:lvl2pPr>
            <a:lvl3pPr marL="1220919" indent="0">
              <a:buNone/>
              <a:defRPr sz="1300"/>
            </a:lvl3pPr>
            <a:lvl4pPr marL="1831378" indent="0">
              <a:buNone/>
              <a:defRPr sz="1200"/>
            </a:lvl4pPr>
            <a:lvl5pPr marL="2441837" indent="0">
              <a:buNone/>
              <a:defRPr sz="1200"/>
            </a:lvl5pPr>
            <a:lvl6pPr marL="3052295" indent="0">
              <a:buNone/>
              <a:defRPr sz="1200"/>
            </a:lvl6pPr>
            <a:lvl7pPr marL="3662756" indent="0">
              <a:buNone/>
              <a:defRPr sz="1200"/>
            </a:lvl7pPr>
            <a:lvl8pPr marL="4273215" indent="0">
              <a:buNone/>
              <a:defRPr sz="1200"/>
            </a:lvl8pPr>
            <a:lvl9pPr marL="4883674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965806" y="1877075"/>
            <a:ext cx="55833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1586182" y="1965810"/>
            <a:ext cx="49630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283814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5605" y="6720844"/>
            <a:ext cx="10241280" cy="793433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345605" y="857885"/>
            <a:ext cx="10241280" cy="5760720"/>
          </a:xfrm>
        </p:spPr>
        <p:txBody>
          <a:bodyPr/>
          <a:lstStyle>
            <a:lvl1pPr marL="0" indent="0">
              <a:buNone/>
              <a:defRPr sz="4300"/>
            </a:lvl1pPr>
            <a:lvl2pPr marL="610459" indent="0">
              <a:buNone/>
              <a:defRPr sz="3700"/>
            </a:lvl2pPr>
            <a:lvl3pPr marL="1220919" indent="0">
              <a:buNone/>
              <a:defRPr sz="3200"/>
            </a:lvl3pPr>
            <a:lvl4pPr marL="1831378" indent="0">
              <a:buNone/>
              <a:defRPr sz="2700"/>
            </a:lvl4pPr>
            <a:lvl5pPr marL="2441837" indent="0">
              <a:buNone/>
              <a:defRPr sz="2700"/>
            </a:lvl5pPr>
            <a:lvl6pPr marL="3052295" indent="0">
              <a:buNone/>
              <a:defRPr sz="2700"/>
            </a:lvl6pPr>
            <a:lvl7pPr marL="3662756" indent="0">
              <a:buNone/>
              <a:defRPr sz="2700"/>
            </a:lvl7pPr>
            <a:lvl8pPr marL="4273215" indent="0">
              <a:buNone/>
              <a:defRPr sz="2700"/>
            </a:lvl8pPr>
            <a:lvl9pPr marL="4883674" indent="0">
              <a:buNone/>
              <a:defRPr sz="27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345605" y="7514277"/>
            <a:ext cx="10241280" cy="1126807"/>
          </a:xfrm>
        </p:spPr>
        <p:txBody>
          <a:bodyPr/>
          <a:lstStyle>
            <a:lvl1pPr marL="0" indent="0">
              <a:buNone/>
              <a:defRPr sz="1900"/>
            </a:lvl1pPr>
            <a:lvl2pPr marL="610459" indent="0">
              <a:buNone/>
              <a:defRPr sz="1600"/>
            </a:lvl2pPr>
            <a:lvl3pPr marL="1220919" indent="0">
              <a:buNone/>
              <a:defRPr sz="1300"/>
            </a:lvl3pPr>
            <a:lvl4pPr marL="1831378" indent="0">
              <a:buNone/>
              <a:defRPr sz="1200"/>
            </a:lvl4pPr>
            <a:lvl5pPr marL="2441837" indent="0">
              <a:buNone/>
              <a:defRPr sz="1200"/>
            </a:lvl5pPr>
            <a:lvl6pPr marL="3052295" indent="0">
              <a:buNone/>
              <a:defRPr sz="1200"/>
            </a:lvl6pPr>
            <a:lvl7pPr marL="3662756" indent="0">
              <a:buNone/>
              <a:defRPr sz="1200"/>
            </a:lvl7pPr>
            <a:lvl8pPr marL="4273215" indent="0">
              <a:buNone/>
              <a:defRPr sz="1200"/>
            </a:lvl8pPr>
            <a:lvl9pPr marL="4883674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493500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135495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6730" y="476747"/>
            <a:ext cx="16135351" cy="1262657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67727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52886326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53440" y="384493"/>
            <a:ext cx="15361920" cy="1600200"/>
          </a:xfrm>
          <a:prstGeom prst="rect">
            <a:avLst/>
          </a:prstGeom>
        </p:spPr>
        <p:txBody>
          <a:bodyPr vert="horz" lIns="122092" tIns="61046" rIns="122092" bIns="61046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53440" y="8898900"/>
            <a:ext cx="3982720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1" y="2568352"/>
            <a:ext cx="17068801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60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3440" y="2240289"/>
            <a:ext cx="15361920" cy="6336348"/>
          </a:xfrm>
          <a:prstGeom prst="rect">
            <a:avLst/>
          </a:prstGeom>
        </p:spPr>
        <p:txBody>
          <a:bodyPr vert="horz" lIns="122092" tIns="61046" rIns="122092" bIns="61046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99A951C-1845-4918-81AE-B3AF6CA4B93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9136" y="8817922"/>
            <a:ext cx="1621632" cy="673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19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654" r:id="rId9"/>
  </p:sldLayoutIdLst>
  <p:hf hdr="0" dt="0"/>
  <p:txStyles>
    <p:titleStyle>
      <a:lvl1pPr algn="ctr" defTabSz="1220919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843" indent="-457843" algn="l" defTabSz="1220919" rtl="0" eaLnBrk="1" latinLnBrk="0" hangingPunct="1">
        <a:spcBef>
          <a:spcPct val="20000"/>
        </a:spcBef>
        <a:buClr>
          <a:srgbClr val="0070C0"/>
        </a:buClr>
        <a:buSzPct val="66000"/>
        <a:buFont typeface="Wingdings" panose="05000000000000000000" pitchFamily="2" charset="2"/>
        <a:buChar char="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1071103" indent="-460256" algn="l" defTabSz="1220919" rtl="0" eaLnBrk="1" latinLnBrk="0" hangingPunct="1">
        <a:spcBef>
          <a:spcPct val="20000"/>
        </a:spcBef>
        <a:buClr>
          <a:schemeClr val="accent6"/>
        </a:buClr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556810" indent="-358448" algn="l" defTabSz="1220919" rtl="0" eaLnBrk="1" latinLnBrk="0" hangingPunct="1">
        <a:spcBef>
          <a:spcPct val="20000"/>
        </a:spcBef>
        <a:buClr>
          <a:srgbClr val="0070C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3135" indent="-231189" algn="l" defTabSz="1220919" rtl="0" eaLnBrk="1" latinLnBrk="0" hangingPunct="1">
        <a:spcBef>
          <a:spcPct val="20000"/>
        </a:spcBef>
        <a:buClr>
          <a:schemeClr val="accent6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41837" indent="0" algn="l" defTabSz="1220919" rtl="0" eaLnBrk="1" latinLnBrk="0" hangingPunct="1">
        <a:spcBef>
          <a:spcPct val="20000"/>
        </a:spcBef>
        <a:buFont typeface="Arial" panose="020B0604020202020204" pitchFamily="34" charset="0"/>
        <a:buNone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7527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798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844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890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459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0919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1378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1837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2295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2756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3215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3674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 title="Stand:">
            <a:extLst>
              <a:ext uri="{FF2B5EF4-FFF2-40B4-BE49-F238E27FC236}">
                <a16:creationId xmlns:a16="http://schemas.microsoft.com/office/drawing/2014/main" id="{17E6A582-B5E4-401D-BAF8-355E782E6C79}"/>
              </a:ext>
            </a:extLst>
          </p:cNvPr>
          <p:cNvSpPr txBox="1"/>
          <p:nvPr/>
        </p:nvSpPr>
        <p:spPr>
          <a:xfrm>
            <a:off x="1064392" y="6829896"/>
            <a:ext cx="432362" cy="323440"/>
          </a:xfrm>
          <a:prstGeom prst="rect">
            <a:avLst/>
          </a:prstGeom>
          <a:noFill/>
        </p:spPr>
        <p:txBody>
          <a:bodyPr wrap="none" lIns="0" tIns="61096" rIns="0" bIns="61096" rtlCol="0">
            <a:spAutoFit/>
          </a:bodyPr>
          <a:lstStyle/>
          <a:p>
            <a:pPr algn="l"/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rPr>
              <a:t>Stand: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4A79403-A556-46CD-8980-4DCFF6AFD01F}"/>
              </a:ext>
            </a:extLst>
          </p:cNvPr>
          <p:cNvSpPr txBox="1"/>
          <p:nvPr/>
        </p:nvSpPr>
        <p:spPr>
          <a:xfrm>
            <a:off x="1075119" y="7334634"/>
            <a:ext cx="1046440" cy="323440"/>
          </a:xfrm>
          <a:prstGeom prst="rect">
            <a:avLst/>
          </a:prstGeom>
          <a:noFill/>
        </p:spPr>
        <p:txBody>
          <a:bodyPr wrap="none" lIns="0" tIns="61096" rIns="0" bIns="61096" rtlCol="0">
            <a:spAutoFit/>
          </a:bodyPr>
          <a:lstStyle/>
          <a:p>
            <a:pPr algn="l"/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rPr>
              <a:t>Verantwortlich:</a:t>
            </a:r>
          </a:p>
        </p:txBody>
      </p:sp>
      <p:grpSp>
        <p:nvGrpSpPr>
          <p:cNvPr id="29" name="Gruppieren 28" title="SymTrafficLight">
            <a:extLst>
              <a:ext uri="{FF2B5EF4-FFF2-40B4-BE49-F238E27FC236}">
                <a16:creationId xmlns:a16="http://schemas.microsoft.com/office/drawing/2014/main" id="{0A0E4AC2-2E4C-46E0-B0DF-E7853626BB1A}"/>
              </a:ext>
            </a:extLst>
          </p:cNvPr>
          <p:cNvGrpSpPr/>
          <p:nvPr/>
        </p:nvGrpSpPr>
        <p:grpSpPr>
          <a:xfrm>
            <a:off x="829544" y="264096"/>
            <a:ext cx="768795" cy="743212"/>
            <a:chOff x="719575" y="2209569"/>
            <a:chExt cx="1085406" cy="1085406"/>
          </a:xfrm>
        </p:grpSpPr>
        <p:sp>
          <p:nvSpPr>
            <p:cNvPr id="30" name="Ellipse 29" title="VisboAmpelRed">
              <a:extLst>
                <a:ext uri="{FF2B5EF4-FFF2-40B4-BE49-F238E27FC236}">
                  <a16:creationId xmlns:a16="http://schemas.microsoft.com/office/drawing/2014/main" id="{19CDB52D-AEBC-4FE4-83A8-2C386D1228CB}"/>
                </a:ext>
              </a:extLst>
            </p:cNvPr>
            <p:cNvSpPr/>
            <p:nvPr/>
          </p:nvSpPr>
          <p:spPr>
            <a:xfrm>
              <a:off x="1156092" y="2412460"/>
              <a:ext cx="200258" cy="200258"/>
            </a:xfrm>
            <a:prstGeom prst="ellipse">
              <a:avLst/>
            </a:prstGeom>
            <a:solidFill>
              <a:srgbClr val="FF0000">
                <a:alpha val="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Ellipse 30" title="VisboAmpelYellow">
              <a:extLst>
                <a:ext uri="{FF2B5EF4-FFF2-40B4-BE49-F238E27FC236}">
                  <a16:creationId xmlns:a16="http://schemas.microsoft.com/office/drawing/2014/main" id="{05E7D982-4739-4E67-BF9D-D20E9A11665C}"/>
                </a:ext>
              </a:extLst>
            </p:cNvPr>
            <p:cNvSpPr/>
            <p:nvPr/>
          </p:nvSpPr>
          <p:spPr>
            <a:xfrm>
              <a:off x="1156092" y="2659051"/>
              <a:ext cx="200258" cy="200258"/>
            </a:xfrm>
            <a:prstGeom prst="ellipse">
              <a:avLst/>
            </a:prstGeom>
            <a:solidFill>
              <a:srgbClr val="FFFF00">
                <a:alpha val="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Ellipse 31" title="VisboAmpelGreen">
              <a:extLst>
                <a:ext uri="{FF2B5EF4-FFF2-40B4-BE49-F238E27FC236}">
                  <a16:creationId xmlns:a16="http://schemas.microsoft.com/office/drawing/2014/main" id="{18D055CF-2A25-40B7-8EB5-FBAA5BB01AE8}"/>
                </a:ext>
              </a:extLst>
            </p:cNvPr>
            <p:cNvSpPr/>
            <p:nvPr/>
          </p:nvSpPr>
          <p:spPr>
            <a:xfrm>
              <a:off x="1156092" y="2920406"/>
              <a:ext cx="200258" cy="200258"/>
            </a:xfrm>
            <a:prstGeom prst="ellipse">
              <a:avLst/>
            </a:prstGeom>
            <a:solidFill>
              <a:srgbClr val="00B050">
                <a:alpha val="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3" name="Picture 7" descr="Stop light image traffic light clipart black and white 2">
              <a:extLst>
                <a:ext uri="{FF2B5EF4-FFF2-40B4-BE49-F238E27FC236}">
                  <a16:creationId xmlns:a16="http://schemas.microsoft.com/office/drawing/2014/main" id="{6CF76E65-0C0F-4993-AE2C-CB0119762E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575" y="2209569"/>
              <a:ext cx="1085406" cy="1085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Abgerundetes Rechteck 4" title="Einzelprojektsicht">
            <a:extLst>
              <a:ext uri="{FF2B5EF4-FFF2-40B4-BE49-F238E27FC236}">
                <a16:creationId xmlns:a16="http://schemas.microsoft.com/office/drawing/2014/main" id="{D490B043-8176-4F9C-B754-59F8C543BD7C}"/>
              </a:ext>
            </a:extLst>
          </p:cNvPr>
          <p:cNvSpPr/>
          <p:nvPr/>
        </p:nvSpPr>
        <p:spPr>
          <a:xfrm>
            <a:off x="1076328" y="3539064"/>
            <a:ext cx="7026024" cy="1693583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tx1"/>
                </a:solidFill>
              </a:rPr>
              <a:t>Einzelprojektsicht</a:t>
            </a:r>
          </a:p>
        </p:txBody>
      </p:sp>
      <p:sp>
        <p:nvSpPr>
          <p:cNvPr id="24" name="Abgerundetes Rechteck 54" title="Beschreibung">
            <a:extLst>
              <a:ext uri="{FF2B5EF4-FFF2-40B4-BE49-F238E27FC236}">
                <a16:creationId xmlns:a16="http://schemas.microsoft.com/office/drawing/2014/main" id="{63D2DC93-E655-4C94-992B-3FB016FE784D}"/>
              </a:ext>
            </a:extLst>
          </p:cNvPr>
          <p:cNvSpPr/>
          <p:nvPr/>
        </p:nvSpPr>
        <p:spPr>
          <a:xfrm>
            <a:off x="1073666" y="2442378"/>
            <a:ext cx="7028686" cy="95776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tx1"/>
                </a:solidFill>
              </a:rPr>
              <a:t>Beschreibung</a:t>
            </a:r>
          </a:p>
        </p:txBody>
      </p:sp>
      <p:graphicFrame>
        <p:nvGraphicFramePr>
          <p:cNvPr id="16" name="Tabelle 15" title="TableBudgetCostAPVCV">
            <a:extLst>
              <a:ext uri="{FF2B5EF4-FFF2-40B4-BE49-F238E27FC236}">
                <a16:creationId xmlns:a16="http://schemas.microsoft.com/office/drawing/2014/main" id="{58267A57-460E-417D-9D4B-D2FBC0FD19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09932"/>
              </p:ext>
            </p:extLst>
          </p:nvPr>
        </p:nvGraphicFramePr>
        <p:xfrm>
          <a:off x="1076329" y="5320828"/>
          <a:ext cx="11706543" cy="9919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484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0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501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38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501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38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02926">
                <a:tc>
                  <a:txBody>
                    <a:bodyPr/>
                    <a:lstStyle/>
                    <a:p>
                      <a:pPr algn="ctr"/>
                      <a:r>
                        <a:rPr lang="de-DE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Überblick und Details zu Koste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Aktueller</a:t>
                      </a:r>
                      <a:br>
                        <a:rPr lang="de-DE" sz="1400" kern="1200" baseline="0" dirty="0"/>
                      </a:br>
                      <a:r>
                        <a:rPr lang="de-DE" sz="1400" kern="1200" baseline="0" dirty="0"/>
                        <a:t>Stand</a:t>
                      </a:r>
                      <a:r>
                        <a:rPr lang="de-DE" sz="1400" kern="1200" dirty="0"/>
                        <a:t> [T€]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279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/>
                        <a:t>Letzte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Baseline [T€]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Diff. zu 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Aktuell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Erste 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Baseline [T€]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Diff. zu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Aktuell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014">
                <a:tc>
                  <a:txBody>
                    <a:bodyPr/>
                    <a:lstStyle/>
                    <a:p>
                      <a:r>
                        <a:rPr lang="de-DE" sz="1200" dirty="0"/>
                        <a:t>Budget</a:t>
                      </a:r>
                      <a:endParaRPr lang="de-DE" sz="1200" dirty="0">
                        <a:latin typeface="+mn-lt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BF005CA4-8311-46B7-B796-93C318BAC2EF}"/>
              </a:ext>
            </a:extLst>
          </p:cNvPr>
          <p:cNvSpPr txBox="1"/>
          <p:nvPr/>
        </p:nvSpPr>
        <p:spPr>
          <a:xfrm>
            <a:off x="914068" y="1366098"/>
            <a:ext cx="2022447" cy="492717"/>
          </a:xfrm>
          <a:prstGeom prst="rect">
            <a:avLst/>
          </a:prstGeom>
          <a:noFill/>
        </p:spPr>
        <p:txBody>
          <a:bodyPr wrap="none" lIns="122191" tIns="61096" rIns="122191" bIns="61096" rtlCol="0">
            <a:spAutoFit/>
          </a:bodyPr>
          <a:lstStyle/>
          <a:p>
            <a:pPr algn="l"/>
            <a:r>
              <a:rPr lang="de-DE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rPr>
              <a:t>Projekt-Name</a:t>
            </a:r>
          </a:p>
        </p:txBody>
      </p:sp>
      <p:sp>
        <p:nvSpPr>
          <p:cNvPr id="18" name="Abgerundetes Rechteck 7">
            <a:extLst>
              <a:ext uri="{FF2B5EF4-FFF2-40B4-BE49-F238E27FC236}">
                <a16:creationId xmlns:a16="http://schemas.microsoft.com/office/drawing/2014/main" id="{E18E9F98-A808-4B1F-9D04-1F2DD7E8105E}"/>
              </a:ext>
            </a:extLst>
          </p:cNvPr>
          <p:cNvSpPr/>
          <p:nvPr/>
        </p:nvSpPr>
        <p:spPr>
          <a:xfrm>
            <a:off x="6446168" y="6829896"/>
            <a:ext cx="7980623" cy="21602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t"/>
          <a:lstStyle/>
          <a:p>
            <a:pPr algn="l"/>
            <a:r>
              <a:rPr lang="de-DE" sz="1800" dirty="0" err="1">
                <a:solidFill>
                  <a:schemeClr val="tx1"/>
                </a:solidFill>
              </a:rPr>
              <a:t>ProjektBedarfsChart</a:t>
            </a:r>
            <a:r>
              <a:rPr lang="de-DE" sz="1800" dirty="0">
                <a:solidFill>
                  <a:schemeClr val="tx1"/>
                </a:solidFill>
              </a:rPr>
              <a:t> (0;0;1;0;1) Analysts</a:t>
            </a:r>
          </a:p>
        </p:txBody>
      </p:sp>
      <p:sp>
        <p:nvSpPr>
          <p:cNvPr id="19" name="Rechteck 18" title="Swimlanes">
            <a:extLst>
              <a:ext uri="{FF2B5EF4-FFF2-40B4-BE49-F238E27FC236}">
                <a16:creationId xmlns:a16="http://schemas.microsoft.com/office/drawing/2014/main" id="{F1373137-3156-4C91-96BF-EC377215DFA5}"/>
              </a:ext>
            </a:extLst>
          </p:cNvPr>
          <p:cNvSpPr/>
          <p:nvPr/>
        </p:nvSpPr>
        <p:spPr bwMode="auto">
          <a:xfrm>
            <a:off x="8558692" y="3340110"/>
            <a:ext cx="6408712" cy="1875050"/>
          </a:xfrm>
          <a:prstGeom prst="rect">
            <a:avLst/>
          </a:prstGeom>
          <a:solidFill>
            <a:srgbClr val="FFFFFF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wimlanes</a:t>
            </a:r>
            <a:endParaRPr lang="de-DE" sz="16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Picture 2" title="SymGoals">
            <a:extLst>
              <a:ext uri="{FF2B5EF4-FFF2-40B4-BE49-F238E27FC236}">
                <a16:creationId xmlns:a16="http://schemas.microsoft.com/office/drawing/2014/main" id="{B06E2FD4-5FE6-4123-B8C4-7DBA29C605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559" y="403022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Abgerundetes Rechteck 64">
            <a:extLst>
              <a:ext uri="{FF2B5EF4-FFF2-40B4-BE49-F238E27FC236}">
                <a16:creationId xmlns:a16="http://schemas.microsoft.com/office/drawing/2014/main" id="{56F1C62A-14EE-479C-9CA5-50949334305A}"/>
              </a:ext>
            </a:extLst>
          </p:cNvPr>
          <p:cNvSpPr/>
          <p:nvPr/>
        </p:nvSpPr>
        <p:spPr>
          <a:xfrm>
            <a:off x="8534400" y="2442378"/>
            <a:ext cx="6840760" cy="540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400" dirty="0">
                <a:solidFill>
                  <a:schemeClr val="tx1"/>
                </a:solidFill>
              </a:rPr>
              <a:t>Ampel-Text</a:t>
            </a:r>
          </a:p>
        </p:txBody>
      </p:sp>
      <p:pic>
        <p:nvPicPr>
          <p:cNvPr id="22" name="Picture 2" title="SymTeam">
            <a:extLst>
              <a:ext uri="{FF2B5EF4-FFF2-40B4-BE49-F238E27FC236}">
                <a16:creationId xmlns:a16="http://schemas.microsoft.com/office/drawing/2014/main" id="{B5DFBA97-0726-4885-BC72-95384CA653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6220" y="416575"/>
            <a:ext cx="584838" cy="58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9" title="SymFinance">
            <a:extLst>
              <a:ext uri="{FF2B5EF4-FFF2-40B4-BE49-F238E27FC236}">
                <a16:creationId xmlns:a16="http://schemas.microsoft.com/office/drawing/2014/main" id="{2B9434A4-A6B3-4A6D-95AD-77ECA0FA7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290" y="317413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title="SymSchedules">
            <a:extLst>
              <a:ext uri="{FF2B5EF4-FFF2-40B4-BE49-F238E27FC236}">
                <a16:creationId xmlns:a16="http://schemas.microsoft.com/office/drawing/2014/main" id="{A7745C70-AC48-4719-9B8A-ECB26CF97F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7522" y="416575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E3FD1DB7-6003-4669-87F2-197B764AB6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9166" y="328422"/>
            <a:ext cx="661982" cy="661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4429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feld 16">
            <a:extLst>
              <a:ext uri="{FF2B5EF4-FFF2-40B4-BE49-F238E27FC236}">
                <a16:creationId xmlns:a16="http://schemas.microsoft.com/office/drawing/2014/main" id="{7F7712B8-36DF-42A2-B002-E58FB8A67768}"/>
              </a:ext>
            </a:extLst>
          </p:cNvPr>
          <p:cNvSpPr txBox="1"/>
          <p:nvPr/>
        </p:nvSpPr>
        <p:spPr>
          <a:xfrm>
            <a:off x="901552" y="824317"/>
            <a:ext cx="2215256" cy="492717"/>
          </a:xfrm>
          <a:prstGeom prst="rect">
            <a:avLst/>
          </a:prstGeom>
          <a:noFill/>
        </p:spPr>
        <p:txBody>
          <a:bodyPr wrap="none" lIns="122191" tIns="61096" rIns="122191" bIns="61096" rtlCol="0">
            <a:spAutoFit/>
          </a:bodyPr>
          <a:lstStyle>
            <a:defPPr>
              <a:defRPr lang="de-DE"/>
            </a:defPPr>
            <a:lvl1pPr algn="l"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ortfolio-Name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7C51D25-1B36-40F3-90C7-AE363CA7D84D}"/>
              </a:ext>
            </a:extLst>
          </p:cNvPr>
          <p:cNvSpPr/>
          <p:nvPr/>
        </p:nvSpPr>
        <p:spPr>
          <a:xfrm>
            <a:off x="973560" y="1632248"/>
            <a:ext cx="8218655" cy="3888432"/>
          </a:xfrm>
          <a:prstGeom prst="rect">
            <a:avLst/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tx1"/>
                </a:solidFill>
              </a:rPr>
              <a:t>PortfolioRoadmap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4127068-1661-CEAA-E904-4E350C091E52}"/>
              </a:ext>
            </a:extLst>
          </p:cNvPr>
          <p:cNvSpPr/>
          <p:nvPr/>
        </p:nvSpPr>
        <p:spPr>
          <a:xfrm>
            <a:off x="10046568" y="1610668"/>
            <a:ext cx="5932288" cy="3168352"/>
          </a:xfrm>
          <a:prstGeom prst="rect">
            <a:avLst/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tx1"/>
                </a:solidFill>
              </a:rPr>
              <a:t>Rolle(Analysts)</a:t>
            </a:r>
          </a:p>
        </p:txBody>
      </p:sp>
    </p:spTree>
    <p:extLst>
      <p:ext uri="{BB962C8B-B14F-4D97-AF65-F5344CB8AC3E}">
        <p14:creationId xmlns:p14="http://schemas.microsoft.com/office/powerpoint/2010/main" val="2941206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solidFill>
              <a:schemeClr val="tx1"/>
            </a:solidFill>
            <a:latin typeface="Gill Sans Light"/>
            <a:ea typeface="Tahoma" panose="020B0604030504040204" pitchFamily="34" charset="0"/>
            <a:cs typeface="Tahoma" panose="020B060403050404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">
      <a:dk1>
        <a:srgbClr val="572E2D"/>
      </a:dk1>
      <a:lt1>
        <a:srgbClr val="2A5657"/>
      </a:lt1>
      <a:dk2>
        <a:srgbClr val="484D4B"/>
      </a:dk2>
      <a:lt2>
        <a:srgbClr val="A5A5A5"/>
      </a:lt2>
      <a:accent1>
        <a:srgbClr val="669AA4"/>
      </a:accent1>
      <a:accent2>
        <a:srgbClr val="930706"/>
      </a:accent2>
      <a:accent3>
        <a:srgbClr val="ACB4B4"/>
      </a:accent3>
      <a:accent4>
        <a:srgbClr val="492625"/>
      </a:accent4>
      <a:accent5>
        <a:srgbClr val="B8CACF"/>
      </a:accent5>
      <a:accent6>
        <a:srgbClr val="850605"/>
      </a:accent6>
      <a:hlink>
        <a:srgbClr val="0000FF"/>
      </a:hlink>
      <a:folHlink>
        <a:srgbClr val="FF00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7</Words>
  <Application>Microsoft Office PowerPoint</Application>
  <PresentationFormat>Benutzerdefiniert</PresentationFormat>
  <Paragraphs>18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Calibri</vt:lpstr>
      <vt:lpstr>Gill Sans Light</vt:lpstr>
      <vt:lpstr>Noteworthy Bold</vt:lpstr>
      <vt:lpstr>Wingdings</vt:lpstr>
      <vt:lpstr>Larissa</vt:lpstr>
      <vt:lpstr>think-cell Folie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om</dc:creator>
  <cp:lastModifiedBy>Thomas Koytek</cp:lastModifiedBy>
  <cp:revision>2447</cp:revision>
  <cp:lastPrinted>2019-01-16T14:41:47Z</cp:lastPrinted>
  <dcterms:modified xsi:type="dcterms:W3CDTF">2022-11-25T14:09:44Z</dcterms:modified>
</cp:coreProperties>
</file>